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20"/>
  </p:notesMasterIdLst>
  <p:handoutMasterIdLst>
    <p:handoutMasterId r:id="rId21"/>
  </p:handoutMasterIdLst>
  <p:sldIdLst>
    <p:sldId id="1676" r:id="rId11"/>
    <p:sldId id="1668" r:id="rId12"/>
    <p:sldId id="1669" r:id="rId13"/>
    <p:sldId id="1671" r:id="rId14"/>
    <p:sldId id="1672" r:id="rId15"/>
    <p:sldId id="1673" r:id="rId16"/>
    <p:sldId id="1670" r:id="rId17"/>
    <p:sldId id="1674" r:id="rId18"/>
    <p:sldId id="1675" r:id="rId1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B2E2"/>
    <a:srgbClr val="00BCF2"/>
    <a:srgbClr val="FF9900"/>
    <a:srgbClr val="FFCC00"/>
    <a:srgbClr val="3558C9"/>
    <a:srgbClr val="005AA1"/>
    <a:srgbClr val="FCB713"/>
    <a:srgbClr val="002864"/>
    <a:srgbClr val="002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6619" autoAdjust="0"/>
  </p:normalViewPr>
  <p:slideViewPr>
    <p:cSldViewPr snapToGrid="0">
      <p:cViewPr varScale="1">
        <p:scale>
          <a:sx n="70" d="100"/>
          <a:sy n="70" d="100"/>
        </p:scale>
        <p:origin x="27" y="48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18/2017 11:12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3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134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18/2017 11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11/18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5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901"/>
          <a:stretch/>
        </p:blipFill>
        <p:spPr>
          <a:xfrm>
            <a:off x="128671" y="5986914"/>
            <a:ext cx="1032802" cy="93485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7254" y="1228790"/>
            <a:ext cx="11200265" cy="198440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7000" b="1" dirty="0">
                <a:solidFill>
                  <a:schemeClr val="bg1"/>
                </a:solidFill>
              </a:rPr>
              <a:t>SoftMax</a:t>
            </a:r>
            <a:endParaRPr lang="en-US" sz="55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FB3FE-7463-4E34-89BD-64A000DA1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24"/>
          <a:stretch/>
        </p:blipFill>
        <p:spPr>
          <a:xfrm>
            <a:off x="8263543" y="3213198"/>
            <a:ext cx="4172932" cy="378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3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" y="6025028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91469" y="1323772"/>
            <a:ext cx="1127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dirty="0">
              <a:latin typeface="+mj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Softmax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/>
              <p:cNvSpPr txBox="1"/>
              <p:nvPr/>
            </p:nvSpPr>
            <p:spPr>
              <a:xfrm>
                <a:off x="591469" y="1323772"/>
                <a:ext cx="11277600" cy="48994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  <m:r>
                      <a:rPr lang="en-US" sz="2400" i="1" dirty="0" smtClean="0">
                        <a:latin typeface="Cambria Math"/>
                      </a:rPr>
                      <m:t>−</m:t>
                    </m:r>
                  </m:oMath>
                </a14:m>
                <a:r>
                  <a:rPr lang="en-US" sz="2400" dirty="0">
                    <a:latin typeface="+mj-lt"/>
                  </a:rPr>
                  <a:t>dimensional vector of arbitrary real values is converted to another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  <m:r>
                      <a:rPr lang="en-US" sz="2400" i="1" dirty="0" smtClean="0">
                        <a:latin typeface="Cambria Math"/>
                      </a:rPr>
                      <m:t>−</m:t>
                    </m:r>
                  </m:oMath>
                </a14:m>
                <a:r>
                  <a:rPr lang="en-US" sz="2400" dirty="0">
                    <a:latin typeface="+mj-lt"/>
                  </a:rPr>
                  <a:t>dimensional vector with real values in the range (0, 1) that add up to 1.0.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Maps 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𝑆</m:t>
                    </m:r>
                    <m:d>
                      <m:dPr>
                        <m:ctrlPr>
                          <a:rPr lang="en-US" sz="24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400" i="1" dirty="0" smtClean="0">
                            <a:latin typeface="Cambria Math"/>
                          </a:rPr>
                          <m:t>𝑎</m:t>
                        </m:r>
                      </m:e>
                    </m:d>
                    <m:r>
                      <a:rPr lang="en-US" sz="2400" b="0" i="1" dirty="0" smtClean="0">
                        <a:latin typeface="Cambria Math"/>
                      </a:rPr>
                      <m:t>:</m:t>
                    </m:r>
                    <m:sSup>
                      <m:sSupPr>
                        <m:ctrlPr>
                          <a:rPr lang="en-US" sz="24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dirty="0" smtClean="0">
                            <a:latin typeface="Cambria Math"/>
                          </a:rPr>
                          <m:t>𝑅</m:t>
                        </m:r>
                      </m:e>
                      <m:sup>
                        <m:r>
                          <a:rPr lang="en-US" sz="2400" b="0" i="1" dirty="0" smtClean="0">
                            <a:latin typeface="Cambria Math"/>
                          </a:rPr>
                          <m:t>𝑁</m:t>
                        </m:r>
                      </m:sup>
                    </m:sSup>
                    <m:r>
                      <a:rPr lang="en-US" sz="2400" b="0" i="1" dirty="0" smtClean="0">
                        <a:latin typeface="Cambria Math"/>
                        <a:ea typeface="Cambria Math"/>
                      </a:rPr>
                      <m:t>→</m:t>
                    </m:r>
                    <m:sSup>
                      <m:sSupPr>
                        <m:ctrlPr>
                          <a:rPr lang="en-US" sz="2400" b="0" i="1" dirty="0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2400" b="0" i="1" dirty="0" smtClean="0">
                            <a:latin typeface="Cambria Math"/>
                            <a:ea typeface="Cambria Math"/>
                          </a:rPr>
                          <m:t>𝑅</m:t>
                        </m:r>
                      </m:e>
                      <m:sup>
                        <m:r>
                          <a:rPr lang="en-US" sz="2400" b="0" i="1" dirty="0" smtClean="0">
                            <a:latin typeface="Cambria Math"/>
                            <a:ea typeface="Cambria Math"/>
                          </a:rPr>
                          <m:t>𝑁</m:t>
                        </m:r>
                      </m:sup>
                    </m:sSup>
                  </m:oMath>
                </a14:m>
                <a:endParaRPr lang="en-US" sz="2400" b="0" dirty="0">
                  <a:latin typeface="+mj-lt"/>
                  <a:ea typeface="Cambria Math"/>
                </a:endParaRPr>
              </a:p>
              <a:p>
                <a:pPr algn="just"/>
                <a:endParaRPr lang="en-US" sz="2400" dirty="0">
                  <a:latin typeface="+mj-lt"/>
                </a:endParaRP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dirty="0" smtClean="0">
                          <a:latin typeface="Cambria Math"/>
                        </a:rPr>
                        <m:t>𝑆</m:t>
                      </m:r>
                      <m:d>
                        <m:dPr>
                          <m:ctrlPr>
                            <a:rPr lang="en-US" sz="2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 dirty="0" smtClean="0">
                              <a:latin typeface="Cambria Math"/>
                            </a:rPr>
                            <m:t>𝑎</m:t>
                          </m:r>
                        </m:e>
                      </m:d>
                      <m:r>
                        <a:rPr lang="en-US" sz="2400" b="0" i="1" dirty="0" smtClean="0">
                          <a:latin typeface="Cambria Math"/>
                        </a:rPr>
                        <m:t>: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2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2400" b="0" i="1" dirty="0" smtClean="0">
                                  <a:latin typeface="Cambria Math"/>
                                </a:rPr>
                                <m:t>…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</a:rPr>
                                    <m:t>𝑁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  <m:r>
                        <a:rPr lang="en-US" sz="2400" b="0" i="1" dirty="0" smtClean="0">
                          <a:latin typeface="Cambria Math"/>
                          <a:ea typeface="Cambria Math"/>
                        </a:rPr>
                        <m:t>→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400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2400" b="0" i="1" dirty="0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2400" b="0" i="1" dirty="0" smtClean="0">
                                  <a:latin typeface="Cambria Math"/>
                                  <a:ea typeface="Cambria Math"/>
                                </a:rPr>
                                <m:t>…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sz="2400" b="0" i="1" dirty="0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sz="2400" b="0" i="1" dirty="0" smtClean="0">
                                      <a:latin typeface="Cambria Math"/>
                                      <a:ea typeface="Cambria Math"/>
                                    </a:rPr>
                                    <m:t>𝑁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en-US" sz="2400" dirty="0">
                  <a:latin typeface="+mj-lt"/>
                </a:endParaRPr>
              </a:p>
              <a:p>
                <a:pPr algn="just"/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Per-element formula is:</a:t>
                </a: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400" i="1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400" i="1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2400" b="0" i="1" smtClean="0">
                                  <a:latin typeface="Cambria Math"/>
                                </a:rPr>
                                <m:t>𝑘</m:t>
                              </m:r>
                              <m:r>
                                <a:rPr lang="en-US" sz="2400" b="0" i="1" smtClean="0">
                                  <a:latin typeface="Cambria Math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2400" b="0" i="1" smtClean="0">
                                  <a:latin typeface="Cambria Math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sz="2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400" b="0" i="1" smtClean="0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400" b="0" i="1" smtClean="0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2400" b="0" i="1" smtClean="0">
                                          <a:latin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p>
                              </m:sSup>
                            </m:e>
                          </m:nary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  </m:t>
                      </m:r>
                      <m:r>
                        <a:rPr lang="en-US" sz="2400" b="0" i="1" smtClean="0">
                          <a:latin typeface="Cambria Math"/>
                          <a:ea typeface="Cambria Math"/>
                        </a:rPr>
                        <m:t>∀</m:t>
                      </m:r>
                      <m:r>
                        <a:rPr lang="en-US" sz="24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en-US" sz="2400" b="0" i="1" smtClean="0">
                          <a:latin typeface="Cambria Math"/>
                          <a:ea typeface="Cambria Math"/>
                        </a:rPr>
                        <m:t>∈1…</m:t>
                      </m:r>
                      <m:r>
                        <a:rPr lang="en-US" sz="24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en-US" sz="2400" dirty="0">
                  <a:latin typeface="+mj-lt"/>
                </a:endParaRPr>
              </a:p>
            </p:txBody>
          </p:sp>
        </mc:Choice>
        <mc:Fallback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277600" cy="4899418"/>
              </a:xfrm>
              <a:prstGeom prst="rect">
                <a:avLst/>
              </a:prstGeom>
              <a:blipFill>
                <a:blip r:embed="rId4"/>
                <a:stretch>
                  <a:fillRect l="-703" t="-871" r="-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477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" y="6025028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Properties Softmax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/>
              <p:cNvSpPr txBox="1"/>
              <p:nvPr/>
            </p:nvSpPr>
            <p:spPr>
              <a:xfrm>
                <a:off x="591469" y="1323772"/>
                <a:ext cx="11548949" cy="34758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𝑆</m:t>
                        </m:r>
                      </m:e>
                      <m:sub>
                        <m:r>
                          <a:rPr lang="en-US" sz="2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2400" dirty="0">
                    <a:solidFill>
                      <a:schemeClr val="tx1"/>
                    </a:solidFill>
                    <a:latin typeface="+mj-lt"/>
                  </a:rPr>
                  <a:t> is always positive (because of the exponents).</a:t>
                </a:r>
              </a:p>
              <a:p>
                <a:pPr algn="just"/>
                <a:endParaRPr lang="en-US" sz="2400" dirty="0">
                  <a:solidFill>
                    <a:schemeClr val="tx1"/>
                  </a:solidFill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solidFill>
                      <a:schemeClr val="tx1"/>
                    </a:solidFill>
                    <a:latin typeface="+mj-lt"/>
                  </a:rPr>
                  <a:t>The numerator appears in the denominator summed up with some other positive number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𝑆</m:t>
                        </m:r>
                      </m:e>
                      <m:sub>
                        <m:r>
                          <a:rPr lang="en-US" sz="2400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𝑗</m:t>
                        </m:r>
                      </m:sub>
                    </m:sSub>
                    <m:r>
                      <a:rPr lang="en-US" sz="2400" b="0" i="1" smtClean="0">
                        <a:solidFill>
                          <a:schemeClr val="tx1"/>
                        </a:solidFill>
                        <a:latin typeface="Cambria Math"/>
                      </a:rPr>
                      <m:t>&lt;1</m:t>
                    </m:r>
                    <m:r>
                      <a:rPr lang="en-US" sz="2400" b="0" i="0" smtClean="0">
                        <a:solidFill>
                          <a:schemeClr val="tx1"/>
                        </a:solidFill>
                        <a:latin typeface="Cambria Math"/>
                      </a:rPr>
                      <m:t>. </m:t>
                    </m:r>
                  </m:oMath>
                </a14:m>
                <a:endParaRPr lang="en-US" sz="2400" dirty="0">
                  <a:solidFill>
                    <a:schemeClr val="tx1"/>
                  </a:solidFill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solidFill>
                      <a:schemeClr val="tx1"/>
                    </a:solidFill>
                    <a:latin typeface="+mj-lt"/>
                  </a:rPr>
                  <a:t>In the range (0, 1)</a:t>
                </a:r>
              </a:p>
              <a:p>
                <a:pPr algn="just"/>
                <a:endParaRPr lang="en-US" sz="2400" dirty="0">
                  <a:solidFill>
                    <a:schemeClr val="tx1"/>
                  </a:solidFill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solidFill>
                      <a:schemeClr val="tx1"/>
                    </a:solidFill>
                    <a:latin typeface="+mj-lt"/>
                  </a:rPr>
                  <a:t>For example, the 3-element vector [1.0, 2.0, 3.0] gets transformed into [0.09, 0.24, 0.67], which still preserves the properties.</a:t>
                </a:r>
              </a:p>
            </p:txBody>
          </p:sp>
        </mc:Choice>
        <mc:Fallback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548949" cy="3475823"/>
              </a:xfrm>
              <a:prstGeom prst="rect">
                <a:avLst/>
              </a:prstGeom>
              <a:blipFill>
                <a:blip r:embed="rId4"/>
                <a:stretch>
                  <a:fillRect l="-686" t="-1404" r="-792" b="-31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531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" y="6025028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Probabilistic Interpre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591469" y="1323772"/>
                <a:ext cx="11548949" cy="49233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The properties of softmax make it suitable for a probabilistic interpretation.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Very useful in machine learning. 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In multiclass classification tasks, we often want to assign probabilities that our input belongs to one of many output classes. 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If we have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</m:oMath>
                </a14:m>
                <a:r>
                  <a:rPr lang="en-US" sz="2400" dirty="0">
                    <a:latin typeface="+mj-lt"/>
                  </a:rPr>
                  <a:t> output classes, we're looking for an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  <m:r>
                      <a:rPr lang="en-US" sz="2400" i="1" dirty="0" smtClean="0">
                        <a:latin typeface="Cambria Math"/>
                      </a:rPr>
                      <m:t>−</m:t>
                    </m:r>
                  </m:oMath>
                </a14:m>
                <a:r>
                  <a:rPr lang="en-US" sz="2400" dirty="0">
                    <a:latin typeface="+mj-lt"/>
                  </a:rPr>
                  <a:t>vector of probabilities that sum up to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</m:oMath>
                </a14:m>
                <a:r>
                  <a:rPr lang="en-US" sz="2400" dirty="0">
                    <a:latin typeface="+mj-lt"/>
                  </a:rPr>
                  <a:t>; sounds familiar?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We can interpret softmax as follows:</a:t>
                </a: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r>
                        <a:rPr lang="en-US" sz="2400" b="0" i="1" smtClean="0">
                          <a:latin typeface="Cambria Math"/>
                        </a:rPr>
                        <m:t>𝑃</m:t>
                      </m:r>
                      <m:r>
                        <a:rPr lang="en-US" sz="2400" b="0" i="1" smtClean="0">
                          <a:latin typeface="Cambria Math"/>
                        </a:rPr>
                        <m:t>(</m:t>
                      </m:r>
                      <m:r>
                        <a:rPr lang="en-US" sz="2400" b="0" i="1" smtClean="0">
                          <a:latin typeface="Cambria Math"/>
                        </a:rPr>
                        <m:t>𝑦</m:t>
                      </m:r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r>
                        <a:rPr lang="en-US" sz="2400" b="0" i="1" smtClean="0">
                          <a:latin typeface="Cambria Math"/>
                        </a:rPr>
                        <m:t>𝑗</m:t>
                      </m:r>
                      <m:r>
                        <a:rPr lang="en-US" sz="2400" b="0" i="1" smtClean="0">
                          <a:latin typeface="Cambria Math"/>
                        </a:rPr>
                        <m:t>|</m:t>
                      </m:r>
                      <m:r>
                        <a:rPr lang="en-US" sz="2400" b="0" i="1" smtClean="0">
                          <a:latin typeface="Cambria Math"/>
                        </a:rPr>
                        <m:t>𝑎</m:t>
                      </m:r>
                      <m:r>
                        <a:rPr lang="en-US" sz="2400" b="0" i="1" smtClean="0">
                          <a:latin typeface="Cambria Math"/>
                        </a:rPr>
                        <m:t>)</m:t>
                      </m:r>
                    </m:oMath>
                  </m:oMathPara>
                </a14:m>
                <a:br>
                  <a:rPr lang="en-US" sz="2400" dirty="0">
                    <a:latin typeface="+mj-lt"/>
                  </a:rPr>
                </a:br>
                <a:endParaRPr lang="en-US" sz="2400" dirty="0">
                  <a:latin typeface="+mj-lt"/>
                </a:endParaRPr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548949" cy="4923399"/>
              </a:xfrm>
              <a:prstGeom prst="rect">
                <a:avLst/>
              </a:prstGeom>
              <a:blipFill rotWithShape="1">
                <a:blip r:embed="rId4"/>
                <a:stretch>
                  <a:fillRect l="-686" t="-866" r="-7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1365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" y="6025028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5200" b="1" dirty="0">
                <a:solidFill>
                  <a:schemeClr val="tx1"/>
                </a:solidFill>
              </a:rPr>
              <a:t>Probabilistic Interpret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/>
              <p:cNvSpPr txBox="1"/>
              <p:nvPr/>
            </p:nvSpPr>
            <p:spPr>
              <a:xfrm>
                <a:off x="591469" y="1323772"/>
                <a:ext cx="11548949" cy="52979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We can interpret softmax as follows: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400" dirty="0">
                  <a:latin typeface="+mj-lt"/>
                </a:endParaRP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r>
                        <a:rPr lang="en-US" sz="2400" b="0" i="1" smtClean="0">
                          <a:latin typeface="Cambria Math"/>
                        </a:rPr>
                        <m:t>𝑃</m:t>
                      </m:r>
                      <m:d>
                        <m:d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latin typeface="Cambria Math"/>
                            </a:rPr>
                            <m:t>𝑦</m:t>
                          </m:r>
                          <m:r>
                            <a:rPr lang="en-US" sz="2400" b="0" i="1" smtClean="0">
                              <a:latin typeface="Cambria Math"/>
                            </a:rPr>
                            <m:t>=</m:t>
                          </m:r>
                          <m:r>
                            <a:rPr lang="en-US" sz="2400" b="0" i="1" smtClean="0">
                              <a:latin typeface="Cambria Math"/>
                            </a:rPr>
                            <m:t>𝑗</m:t>
                          </m:r>
                        </m:e>
                        <m:e>
                          <m:r>
                            <a:rPr lang="en-US" sz="2400" b="0" i="1" smtClean="0">
                              <a:latin typeface="Cambria Math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en-US" sz="2400" b="0" dirty="0">
                  <a:latin typeface="+mj-lt"/>
                </a:endParaRPr>
              </a:p>
              <a:p>
                <a:pPr algn="just"/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Where 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𝑦</m:t>
                    </m:r>
                  </m:oMath>
                </a14:m>
                <a:r>
                  <a:rPr lang="en-US" sz="2400" dirty="0">
                    <a:latin typeface="+mj-lt"/>
                  </a:rPr>
                  <a:t> is the output class numbered</a:t>
                </a:r>
                <a14:m>
                  <m:oMath xmlns:m="http://schemas.openxmlformats.org/officeDocument/2006/math">
                    <m:r>
                      <a:rPr lang="en-US" sz="2400" dirty="0">
                        <a:latin typeface="Cambria Math"/>
                      </a:rPr>
                      <m:t> </m:t>
                    </m:r>
                    <m:r>
                      <a:rPr lang="en-US" sz="2400" i="1" dirty="0" smtClean="0">
                        <a:latin typeface="Cambria Math"/>
                      </a:rPr>
                      <m:t>1…</m:t>
                    </m:r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</m:oMath>
                </a14:m>
                <a:r>
                  <a:rPr lang="en-US" sz="2400" dirty="0">
                    <a:latin typeface="+mj-lt"/>
                  </a:rPr>
                  <a:t>.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𝑎</m:t>
                    </m:r>
                  </m:oMath>
                </a14:m>
                <a:r>
                  <a:rPr lang="en-US" sz="2400" dirty="0">
                    <a:latin typeface="+mj-lt"/>
                  </a:rPr>
                  <a:t> is any 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𝑁</m:t>
                    </m:r>
                  </m:oMath>
                </a14:m>
                <a:r>
                  <a:rPr lang="en-US" sz="2400" dirty="0">
                    <a:latin typeface="+mj-lt"/>
                  </a:rPr>
                  <a:t>-vector.</a:t>
                </a:r>
              </a:p>
              <a:p>
                <a:pPr algn="just"/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Often, in multiclass logistic regression, an input vector 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𝑥</m:t>
                    </m:r>
                  </m:oMath>
                </a14:m>
                <a:r>
                  <a:rPr lang="en-US" sz="2400" dirty="0">
                    <a:latin typeface="+mj-lt"/>
                  </a:rPr>
                  <a:t> is multiplied by a weight matrix 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latin typeface="Cambria Math"/>
                      </a:rPr>
                      <m:t>𝑊</m:t>
                    </m:r>
                  </m:oMath>
                </a14:m>
                <a:r>
                  <a:rPr lang="en-US" sz="2400" dirty="0">
                    <a:latin typeface="+mj-lt"/>
                  </a:rPr>
                  <a:t>, and the result of this dot product is fed into a softmax function to produce probabilities.</a:t>
                </a:r>
              </a:p>
              <a:p>
                <a:pPr algn="just"/>
                <a:endParaRPr lang="en-US" sz="24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400" dirty="0">
                    <a:latin typeface="+mj-lt"/>
                  </a:rPr>
                  <a:t>From a probabilistic point of view, softmax is optimal for maximum-likelihood estimation of the model's parameters.</a:t>
                </a:r>
              </a:p>
              <a:p>
                <a:pPr algn="just"/>
                <a:br>
                  <a:rPr lang="en-US" sz="2400" dirty="0">
                    <a:latin typeface="+mj-lt"/>
                  </a:rPr>
                </a:br>
                <a:endParaRPr lang="en-US" sz="2400" dirty="0">
                  <a:latin typeface="+mj-lt"/>
                </a:endParaRPr>
              </a:p>
            </p:txBody>
          </p:sp>
        </mc:Choice>
        <mc:Fallback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548949" cy="5297989"/>
              </a:xfrm>
              <a:prstGeom prst="rect">
                <a:avLst/>
              </a:prstGeom>
              <a:blipFill>
                <a:blip r:embed="rId4"/>
                <a:stretch>
                  <a:fillRect l="-686" t="-806" r="-7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2445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4018" y="6350090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2"/>
          <p:cNvSpPr txBox="1">
            <a:spLocks/>
          </p:cNvSpPr>
          <p:nvPr/>
        </p:nvSpPr>
        <p:spPr>
          <a:xfrm>
            <a:off x="504717" y="246351"/>
            <a:ext cx="11969337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Computing Softmax and Numerical Stabili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1469" y="1323772"/>
            <a:ext cx="1154894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A simple way of computing the softmax function on a given vector in Python is: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Let's try it with the sample 3-element vector we've used as an example earlier: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However, if we run this function with larger numbers (or large negative </a:t>
            </a:r>
            <a:r>
              <a:rPr lang="en-US" sz="2000">
                <a:latin typeface="+mj-lt"/>
              </a:rPr>
              <a:t>numbers), we </a:t>
            </a:r>
            <a:r>
              <a:rPr lang="en-US" sz="2000" dirty="0">
                <a:latin typeface="+mj-lt"/>
              </a:rPr>
              <a:t>have a problem: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algn="just"/>
            <a:endParaRPr lang="en-US" sz="2000" dirty="0">
              <a:latin typeface="+mj-lt"/>
            </a:endParaRPr>
          </a:p>
        </p:txBody>
      </p:sp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76" y="3958743"/>
            <a:ext cx="10263952" cy="819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76" y="5349177"/>
            <a:ext cx="10263952" cy="853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76" y="1855502"/>
            <a:ext cx="10263952" cy="1488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631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" y="6025028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504717" y="246351"/>
            <a:ext cx="11969337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Numerical Range Limita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/>
              <p:cNvSpPr txBox="1"/>
              <p:nvPr/>
            </p:nvSpPr>
            <p:spPr>
              <a:xfrm>
                <a:off x="591469" y="1323772"/>
                <a:ext cx="11514095" cy="49321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The numerical range of the floating-point numbers used by </a:t>
                </a:r>
                <a:r>
                  <a:rPr lang="en-US" sz="2000" i="1" dirty="0">
                    <a:latin typeface="+mj-lt"/>
                  </a:rPr>
                  <a:t>Numpy</a:t>
                </a:r>
                <a:r>
                  <a:rPr lang="en-US" sz="2000" dirty="0">
                    <a:latin typeface="+mj-lt"/>
                  </a:rPr>
                  <a:t> is limited.</a:t>
                </a:r>
              </a:p>
              <a:p>
                <a:pPr algn="just"/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For float64, the maximal representable number is on the order of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latin typeface="Cambria Math"/>
                          </a:rPr>
                          <m:t>10</m:t>
                        </m:r>
                      </m:e>
                      <m:sup>
                        <m:r>
                          <a:rPr lang="en-US" sz="2000" b="0" i="1" smtClean="0">
                            <a:latin typeface="Cambria Math"/>
                          </a:rPr>
                          <m:t>308</m:t>
                        </m:r>
                      </m:sup>
                    </m:sSup>
                  </m:oMath>
                </a14:m>
                <a:r>
                  <a:rPr lang="en-US" sz="2000" dirty="0">
                    <a:latin typeface="+mj-lt"/>
                  </a:rPr>
                  <a:t>. Exponentiation in the softmax function makes it possible to easily overshoot this number, even for fairly modest-sized inputs.</a:t>
                </a:r>
              </a:p>
              <a:p>
                <a:pPr algn="just"/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Avoid this problem by normalizing the inputs to be not too large or too small, by observing that we can use an arbitrary constant 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/>
                      </a:rPr>
                      <m:t>𝐶</m:t>
                    </m:r>
                  </m:oMath>
                </a14:m>
                <a:r>
                  <a:rPr lang="en-US" sz="2000" dirty="0">
                    <a:latin typeface="+mj-lt"/>
                  </a:rPr>
                  <a:t> as follows: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000" dirty="0">
                  <a:latin typeface="+mj-lt"/>
                </a:endParaRP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0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2000" i="1">
                                  <a:latin typeface="Cambria Math"/>
                                </a:rPr>
                                <m:t>𝑘</m:t>
                              </m:r>
                              <m:r>
                                <a:rPr lang="en-US" sz="2000" i="1">
                                  <a:latin typeface="Cambria Math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2000" i="1">
                                  <a:latin typeface="Cambria Math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p>
                              </m:sSup>
                            </m:e>
                          </m:nary>
                        </m:den>
                      </m:f>
                      <m:r>
                        <a:rPr lang="en-US" sz="20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/>
                                </a:rPr>
                                <m:t>𝐶</m:t>
                              </m:r>
                              <m:r>
                                <a:rPr lang="en-US" sz="2000" i="1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2000" i="1">
                                  <a:latin typeface="Cambria Math"/>
                                </a:rPr>
                                <m:t>𝑘</m:t>
                              </m:r>
                              <m:r>
                                <a:rPr lang="en-US" sz="2000" i="1">
                                  <a:latin typeface="Cambria Math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2000" i="1">
                                  <a:latin typeface="Cambria Math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𝐶</m:t>
                                  </m:r>
                                  <m:r>
                                    <a:rPr lang="en-US" sz="2000" i="1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pPr algn="just"/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And then pushing the constant into the exponent, we get: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000" dirty="0">
                  <a:latin typeface="+mj-lt"/>
                </a:endParaRP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0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en-US" sz="2000" b="0" i="1" smtClean="0">
                                  <a:latin typeface="Cambria Math"/>
                                </a:rPr>
                                <m:t>+</m:t>
                              </m:r>
                              <m:func>
                                <m:funcPr>
                                  <m:ctrlP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sz="2000" b="0" i="0" smtClean="0">
                                      <a:latin typeface="Cambria Math"/>
                                    </a:rPr>
                                    <m:t>log</m:t>
                                  </m:r>
                                </m:fName>
                                <m:e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(</m:t>
                                  </m:r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𝐶</m:t>
                                  </m:r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)</m:t>
                                  </m:r>
                                </m:e>
                              </m:func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2000" i="1">
                                  <a:latin typeface="Cambria Math"/>
                                </a:rPr>
                                <m:t>𝑘</m:t>
                              </m:r>
                              <m:r>
                                <a:rPr lang="en-US" sz="2000" i="1">
                                  <a:latin typeface="Cambria Math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2000" i="1">
                                  <a:latin typeface="Cambria Math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+</m:t>
                                  </m:r>
                                  <m:func>
                                    <m:funcPr>
                                      <m:ctrlP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sz="2000" b="0" i="0" smtClean="0">
                                          <a:latin typeface="Cambria Math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r>
                                        <a:rPr lang="en-US" sz="2000" b="0" i="1" smtClean="0">
                                          <a:latin typeface="Cambria Math"/>
                                        </a:rPr>
                                        <m:t>(</m:t>
                                      </m:r>
                                      <m:r>
                                        <a:rPr lang="en-US" sz="2000" b="0" i="1" smtClean="0">
                                          <a:latin typeface="Cambria Math"/>
                                        </a:rPr>
                                        <m:t>𝐶</m:t>
                                      </m:r>
                                      <m:r>
                                        <a:rPr lang="en-US" sz="2000" b="0" i="1" smtClean="0">
                                          <a:latin typeface="Cambria Math"/>
                                        </a:rPr>
                                        <m:t>)</m:t>
                                      </m:r>
                                    </m:e>
                                  </m:func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sz="2000" dirty="0">
                  <a:latin typeface="+mj-lt"/>
                </a:endParaRPr>
              </a:p>
            </p:txBody>
          </p:sp>
        </mc:Choice>
        <mc:Fallback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514095" cy="4932119"/>
              </a:xfrm>
              <a:prstGeom prst="rect">
                <a:avLst/>
              </a:prstGeom>
              <a:blipFill>
                <a:blip r:embed="rId4"/>
                <a:stretch>
                  <a:fillRect l="-476" t="-494" r="-5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4615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4771" y="6232042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504717" y="246351"/>
            <a:ext cx="11969337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Numerical Range Limita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/>
              <p:cNvSpPr txBox="1"/>
              <p:nvPr/>
            </p:nvSpPr>
            <p:spPr>
              <a:xfrm>
                <a:off x="591469" y="1323772"/>
                <a:ext cx="11486800" cy="48614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Since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/>
                      </a:rPr>
                      <m:t> </m:t>
                    </m:r>
                    <m:r>
                      <a:rPr lang="en-US" sz="2000" i="1" dirty="0" smtClean="0">
                        <a:latin typeface="Cambria Math"/>
                      </a:rPr>
                      <m:t>𝐶</m:t>
                    </m:r>
                    <m:r>
                      <a:rPr lang="en-US" sz="20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en-US" sz="2000" dirty="0">
                    <a:latin typeface="+mj-lt"/>
                  </a:rPr>
                  <a:t>is just an arbitrary constant, we can instead write:</a:t>
                </a:r>
              </a:p>
              <a:p>
                <a:pPr algn="just"/>
                <a:endParaRPr lang="en-US" sz="2000" i="1" dirty="0">
                  <a:latin typeface="+mj-lt"/>
                </a:endParaRP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latin typeface="Cambria Math"/>
                            </a:rPr>
                            <m:t>𝑆</m:t>
                          </m:r>
                        </m:e>
                        <m:sub>
                          <m:r>
                            <a:rPr lang="en-US" sz="20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en-US" sz="2000" i="1">
                                  <a:latin typeface="Cambria Math"/>
                                </a:rPr>
                                <m:t>+</m:t>
                              </m:r>
                              <m:r>
                                <a:rPr lang="en-US" sz="2000" b="0" i="1" smtClean="0">
                                  <a:latin typeface="Cambria Math"/>
                                </a:rPr>
                                <m:t>𝐷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2000" i="1">
                                  <a:latin typeface="Cambria Math"/>
                                </a:rPr>
                                <m:t>𝑘</m:t>
                              </m:r>
                              <m:r>
                                <a:rPr lang="en-US" sz="2000" i="1">
                                  <a:latin typeface="Cambria Math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2000" i="1">
                                  <a:latin typeface="Cambria Math"/>
                                </a:rPr>
                                <m:t>𝑁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i="1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latin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r>
                                    <a:rPr lang="en-US" sz="2000" i="1">
                                      <a:latin typeface="Cambria Math"/>
                                    </a:rPr>
                                    <m:t>+</m:t>
                                  </m:r>
                                  <m:r>
                                    <a:rPr lang="en-US" sz="2000" b="0" i="1" smtClean="0">
                                      <a:latin typeface="Cambria Math"/>
                                    </a:rPr>
                                    <m:t>𝐷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pPr algn="just"/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Where 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/>
                      </a:rPr>
                      <m:t>𝐷</m:t>
                    </m:r>
                  </m:oMath>
                </a14:m>
                <a:r>
                  <a:rPr lang="en-US" sz="2000" dirty="0">
                    <a:latin typeface="+mj-lt"/>
                  </a:rPr>
                  <a:t> is also an arbitrary constant. This formula is equivalent to the original 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𝑆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2000" dirty="0">
                    <a:latin typeface="+mj-lt"/>
                  </a:rPr>
                  <a:t> for any 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/>
                      </a:rPr>
                      <m:t>𝐷</m:t>
                    </m:r>
                  </m:oMath>
                </a14:m>
                <a:r>
                  <a:rPr lang="en-US" sz="2000" dirty="0">
                    <a:latin typeface="+mj-lt"/>
                  </a:rPr>
                  <a:t>, so we're free to choose a 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/>
                      </a:rPr>
                      <m:t>𝐷</m:t>
                    </m:r>
                  </m:oMath>
                </a14:m>
                <a:r>
                  <a:rPr lang="en-US" sz="2000" dirty="0">
                    <a:latin typeface="+mj-lt"/>
                  </a:rPr>
                  <a:t> that will make our computation better numerically. A good choice is the maximum between all  inputs, negated:</a:t>
                </a:r>
              </a:p>
              <a:p>
                <a:pPr algn="just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/>
                        </a:rPr>
                        <m:t>𝐷</m:t>
                      </m:r>
                      <m:r>
                        <a:rPr lang="en-US" sz="2000" b="0" i="1" smtClean="0">
                          <a:latin typeface="Cambria Math"/>
                        </a:rPr>
                        <m:t>=−</m:t>
                      </m:r>
                      <m:func>
                        <m:func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/>
                            </a:rPr>
                            <m:t>max</m:t>
                          </m:r>
                        </m:fName>
                        <m:e>
                          <m:r>
                            <a:rPr lang="en-US" sz="2000" i="1">
                              <a:latin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i="1">
                                  <a:latin typeface="Cambria Math"/>
                                </a:rPr>
                                <m:t>1,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i="1"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000" i="1">
                              <a:latin typeface="Cambria Math"/>
                            </a:rPr>
                            <m:t>,…,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i="1">
                                  <a:latin typeface="Cambria Math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i="1">
                                  <a:latin typeface="Cambria Math"/>
                                </a:rPr>
                                <m:t>𝑁</m:t>
                              </m:r>
                            </m:sub>
                          </m:sSub>
                          <m:r>
                            <a:rPr lang="en-US" sz="2000" i="1">
                              <a:latin typeface="Cambria Math"/>
                            </a:rPr>
                            <m:t>)</m:t>
                          </m:r>
                          <m:r>
                            <m:rPr>
                              <m:nor/>
                            </m:rPr>
                            <a:rPr lang="en-US" sz="2000" dirty="0">
                              <a:latin typeface="+mj-lt"/>
                            </a:rPr>
                            <m:t> </m:t>
                          </m:r>
                        </m:e>
                      </m:func>
                    </m:oMath>
                  </m:oMathPara>
                </a14:m>
                <a:endParaRPr lang="en-US" sz="2000" dirty="0">
                  <a:latin typeface="+mj-lt"/>
                </a:endParaRPr>
              </a:p>
              <a:p>
                <a:pPr algn="just"/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Shifts the inputs to a range close to zero, assuming the inputs themselves are not too far from each other. Specifically, it shifts them all to be negative (except the maximal 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/>
                          </a:rPr>
                          <m:t>𝑎</m:t>
                        </m:r>
                      </m:e>
                      <m:sub>
                        <m:r>
                          <a:rPr lang="en-US" sz="2000" b="0" i="1" smtClean="0">
                            <a:latin typeface="Cambria Math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US" sz="2000" dirty="0">
                    <a:latin typeface="+mj-lt"/>
                  </a:rPr>
                  <a:t> which turns into a zero).</a:t>
                </a:r>
              </a:p>
              <a:p>
                <a:pPr marL="342900" indent="-342900" algn="just">
                  <a:buFont typeface="Arial" pitchFamily="34" charset="0"/>
                  <a:buChar char="•"/>
                </a:pPr>
                <a:endParaRPr lang="en-US" sz="2000" dirty="0">
                  <a:latin typeface="+mj-lt"/>
                </a:endParaRPr>
              </a:p>
              <a:p>
                <a:pPr marL="342900" indent="-342900" algn="just">
                  <a:buFont typeface="Arial" pitchFamily="34" charset="0"/>
                  <a:buChar char="•"/>
                </a:pPr>
                <a:r>
                  <a:rPr lang="en-US" sz="2000" dirty="0">
                    <a:latin typeface="+mj-lt"/>
                  </a:rPr>
                  <a:t>Negatives with large exponents "saturate" to zero rather than infinity, so we have a better chance of avoiding </a:t>
                </a:r>
                <a:r>
                  <a:rPr lang="en-US" sz="2000" dirty="0" err="1">
                    <a:latin typeface="+mj-lt"/>
                  </a:rPr>
                  <a:t>NaNs</a:t>
                </a:r>
                <a:r>
                  <a:rPr lang="en-US" sz="2000" dirty="0">
                    <a:latin typeface="+mj-lt"/>
                  </a:rPr>
                  <a:t>.</a:t>
                </a:r>
              </a:p>
            </p:txBody>
          </p:sp>
        </mc:Choice>
        <mc:Fallback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486800" cy="4861459"/>
              </a:xfrm>
              <a:prstGeom prst="rect">
                <a:avLst/>
              </a:prstGeom>
              <a:blipFill>
                <a:blip r:embed="rId4"/>
                <a:stretch>
                  <a:fillRect l="-478" t="-501" r="-584" b="-12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502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253" y="6259902"/>
            <a:ext cx="1676400" cy="5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504717" y="246351"/>
            <a:ext cx="11969337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200" b="1" dirty="0">
                <a:solidFill>
                  <a:schemeClr val="tx1"/>
                </a:solidFill>
              </a:rPr>
              <a:t>Numerical Range Limitation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703" y="1200901"/>
            <a:ext cx="10400755" cy="1494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91468" y="2865907"/>
            <a:ext cx="1154894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And now: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algn="just"/>
            <a:endParaRPr lang="en-US" sz="2000" dirty="0">
              <a:latin typeface="+mj-lt"/>
            </a:endParaRPr>
          </a:p>
          <a:p>
            <a:pPr algn="just"/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n-US" sz="2000" dirty="0">
              <a:latin typeface="+mj-lt"/>
            </a:endParaRPr>
          </a:p>
          <a:p>
            <a:pPr algn="just"/>
            <a:endParaRPr lang="en-US" sz="2000" dirty="0">
              <a:latin typeface="+mj-lt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Note</a:t>
            </a:r>
            <a:r>
              <a:rPr lang="en-US" sz="2000" dirty="0">
                <a:latin typeface="+mj-lt"/>
              </a:rPr>
              <a:t>: </a:t>
            </a:r>
          </a:p>
          <a:p>
            <a:pPr marL="809271" lvl="1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That this is still imperfect. </a:t>
            </a:r>
          </a:p>
          <a:p>
            <a:pPr marL="809271" lvl="1" indent="-342900" algn="just"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Since mathematically softmax would never really produce a zero, but this is much better than NaNs, and since the distance between the inputs is very large it's expected to get a result extremely close to zero anyway.</a:t>
            </a: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703" y="3378461"/>
            <a:ext cx="10462297" cy="9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23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83C830-5CE3-494B-8273-D209C7DDB282}">
  <ds:schemaRefs>
    <ds:schemaRef ds:uri="http://schemas.microsoft.com/sharepoint/v3"/>
    <ds:schemaRef ds:uri="9bc6b55d-a734-43bd-8eab-fb065c703cf5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639</Words>
  <Application>Microsoft Office PowerPoint</Application>
  <PresentationFormat>Custom</PresentationFormat>
  <Paragraphs>125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9" baseType="lpstr">
      <vt:lpstr>MS PGothic</vt:lpstr>
      <vt:lpstr>SimSun</vt:lpstr>
      <vt:lpstr>Arial</vt:lpstr>
      <vt:lpstr>Calibri</vt:lpstr>
      <vt:lpstr>Cambria Math</vt:lpstr>
      <vt:lpstr>Consolas</vt:lpstr>
      <vt:lpstr>Courier New</vt:lpstr>
      <vt:lpstr>Segoe Pro</vt:lpstr>
      <vt:lpstr>Segoe UI</vt:lpstr>
      <vt:lpstr>Segoe UI Light</vt:lpstr>
      <vt:lpstr>Segoe UI Semibold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SoftMa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7-11-18T05:4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Tfs.IsStoryboard">
    <vt:bool>true</vt:bool>
  </property>
  <property fmtid="{D5CDD505-2E9C-101B-9397-08002B2CF9AE}" pid="4" name="MSIP_Label_f42aa342-8706-4288-bd11-ebb85995028c_Enabled">
    <vt:lpwstr>True</vt:lpwstr>
  </property>
  <property fmtid="{D5CDD505-2E9C-101B-9397-08002B2CF9AE}" pid="5" name="MSIP_Label_f42aa342-8706-4288-bd11-ebb85995028c_SiteId">
    <vt:lpwstr>72f988bf-86f1-41af-91ab-2d7cd011db47</vt:lpwstr>
  </property>
  <property fmtid="{D5CDD505-2E9C-101B-9397-08002B2CF9AE}" pid="6" name="MSIP_Label_f42aa342-8706-4288-bd11-ebb85995028c_Owner">
    <vt:lpwstr>miprasad@microsoft.com</vt:lpwstr>
  </property>
  <property fmtid="{D5CDD505-2E9C-101B-9397-08002B2CF9AE}" pid="7" name="MSIP_Label_f42aa342-8706-4288-bd11-ebb85995028c_SetDate">
    <vt:lpwstr>2017-11-18T05:43:32.3406517Z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